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12192000" cy="6858000"/>
  <p:notesSz cx="6858000" cy="9144000"/>
  <p:custDataLst>
    <p:tags r:id="rId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>
        <p:scale>
          <a:sx n="82" d="100"/>
          <a:sy n="82" d="100"/>
        </p:scale>
        <p:origin x="720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0A6FB6-9733-4E63-955D-39E63A77E2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25F3D4A-27E5-4075-AB73-0B91BD71AF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097043-9827-4137-9CCB-72DA26C5C5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6118CD-B33A-4BC1-A2E9-3796DC53A842}" type="datetimeFigureOut">
              <a:rPr lang="en-US" smtClean="0"/>
              <a:t>4/1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6C1881-1662-4E07-BF32-0CCA80F452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F60D5EB-801F-4A72-ABCA-48214C4434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50E42-192D-4A5A-93AF-5624CEF00B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02724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488704-5711-456C-97B4-3D302AD402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3790AA8-2C67-4E61-A8E8-6081ED3D6E8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F50D1D2-0D13-41BC-9565-782371AADF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6118CD-B33A-4BC1-A2E9-3796DC53A842}" type="datetimeFigureOut">
              <a:rPr lang="en-US" smtClean="0"/>
              <a:t>4/1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BF97DC-AF75-4C4A-B987-6B0C1F2224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96F7AB2-60FD-42C3-A3AB-FCD5FEAA43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50E42-192D-4A5A-93AF-5624CEF00B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15991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E9B3C2C-5E10-4B4E-9F1C-10BF0B745EF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FB5391C-1138-4C30-B652-5A5EF25EC21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D7148F4-8DD5-4407-8379-285255E2F8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6118CD-B33A-4BC1-A2E9-3796DC53A842}" type="datetimeFigureOut">
              <a:rPr lang="en-US" smtClean="0"/>
              <a:t>4/1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54C5F1-6323-4C92-834F-3380E41521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036C3B-D1B5-42A7-9C3E-FB63F85F29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50E42-192D-4A5A-93AF-5624CEF00B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22297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F1874C-7F3D-4567-BD0D-D4EED982E3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238344-DD13-4C3F-9407-33B843BC4FE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C8822E-5267-4586-8EF5-A818A02271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6118CD-B33A-4BC1-A2E9-3796DC53A842}" type="datetimeFigureOut">
              <a:rPr lang="en-US" smtClean="0"/>
              <a:t>4/1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2E475C-FC3F-4FEA-AB7A-61E4EC859F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7052ED-669C-4388-9E35-CE277B2C55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50E42-192D-4A5A-93AF-5624CEF00B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98700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838271-E9FD-4ADD-B2AD-177671FC18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A6C1DBF-FAA8-4639-B1A9-3C60067221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22A978-4978-4447-AB79-0AE0DA85EC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6118CD-B33A-4BC1-A2E9-3796DC53A842}" type="datetimeFigureOut">
              <a:rPr lang="en-US" smtClean="0"/>
              <a:t>4/1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58BD32-A985-4A12-94F7-CC71CB9973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6FEDD7-AB36-4084-81A5-3210D842DE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50E42-192D-4A5A-93AF-5624CEF00B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00150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3826DF-91D5-4827-AD69-9E965E2D3D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321F59-B620-4269-B945-77137C11B95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3B59235-1B31-475D-AFA6-E4F26D86261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98278BE-9634-42E8-B4E9-0BF209776A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6118CD-B33A-4BC1-A2E9-3796DC53A842}" type="datetimeFigureOut">
              <a:rPr lang="en-US" smtClean="0"/>
              <a:t>4/17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55B3327-2499-4335-ACD8-A6BEF69BA4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97338D-C2B1-4B15-9F27-1A89B3A3A4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50E42-192D-4A5A-93AF-5624CEF00B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33825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D79939-9C0B-429C-A7B3-26F969CF6A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8DB35EA-6261-4CA3-B414-CB8DAB9C172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A651494-EA1F-479B-A38D-B6C216F76DD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3710026-3E3F-4F2B-AA54-C375D32FA1D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3F337E9-8E00-4507-B6D0-4E75B452F5D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CE47245-A4BE-4244-B2EA-A2B825D4B2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6118CD-B33A-4BC1-A2E9-3796DC53A842}" type="datetimeFigureOut">
              <a:rPr lang="en-US" smtClean="0"/>
              <a:t>4/17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5BD501B-A673-4640-8E34-0A8363ED6F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3F331BD-F687-459D-B7CF-8BF6D330A5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50E42-192D-4A5A-93AF-5624CEF00B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1244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93C9AD-BA41-48E4-BC60-B317FC9D8E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C6B919D-301E-4D0A-83B2-D6CD1C4087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6118CD-B33A-4BC1-A2E9-3796DC53A842}" type="datetimeFigureOut">
              <a:rPr lang="en-US" smtClean="0"/>
              <a:t>4/17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34B062-380F-433D-A033-43AC059DB1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17290B9-0CFF-4A86-9807-83229E0F69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50E42-192D-4A5A-93AF-5624CEF00B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80665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98F27E4-9869-4AC1-B395-16937A1C11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6118CD-B33A-4BC1-A2E9-3796DC53A842}" type="datetimeFigureOut">
              <a:rPr lang="en-US" smtClean="0"/>
              <a:t>4/17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57C213-CA8B-442C-BA67-94397008B9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7DAE0FB-F77E-4977-8C3F-B814879DEC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50E42-192D-4A5A-93AF-5624CEF00B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51060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6FCDFB-6570-4D37-9210-5D115D54CB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4071036-E0F3-4676-B842-DD47384C90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0350EF1-E9C1-49B0-BC81-18D531C9F23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4348C2D-C479-4BA3-A5D8-F04B27FFA1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6118CD-B33A-4BC1-A2E9-3796DC53A842}" type="datetimeFigureOut">
              <a:rPr lang="en-US" smtClean="0"/>
              <a:t>4/17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2013D25-F383-4BAB-BF41-9CCDFA50B7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D813969-F7DC-4BCC-B659-CFC7554414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50E42-192D-4A5A-93AF-5624CEF00B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52209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9902BB-C524-4206-A2A7-AD00411303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A15F214-FF4E-4424-BA18-39BA7273E14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04614A-761B-48E1-B094-CB6D6BBF2EB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D6CEABB-CD91-4E39-AF20-01FE08FC8B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6118CD-B33A-4BC1-A2E9-3796DC53A842}" type="datetimeFigureOut">
              <a:rPr lang="en-US" smtClean="0"/>
              <a:t>4/17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B5705C-CBB8-49C8-A2A8-A9300B1E3A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795FE00-CDF0-4000-907D-D5D1326208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50E42-192D-4A5A-93AF-5624CEF00B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23532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96F4B08-E536-4530-8870-7AF6EA6B0F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5833609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5" imgW="499" imgH="499" progId="TCLayout.ActiveDocument.1">
                  <p:embed/>
                </p:oleObj>
              </mc:Choice>
              <mc:Fallback>
                <p:oleObj name="think-cell Slide" r:id="rId15" imgW="499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FF4E79F-953C-42A2-B9E4-4E6D7DBAA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0DA983-DF2F-40AA-B9A6-F9A90280C2D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8612EE0-9BCE-4145-9E89-03B48B8D79E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6118CD-B33A-4BC1-A2E9-3796DC53A842}" type="datetimeFigureOut">
              <a:rPr lang="en-US" smtClean="0"/>
              <a:t>4/1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D056D7-4E4E-4B81-B59E-4D34381C7F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C0A621-7878-4CB7-AFC1-3389C245C7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8050E42-192D-4A5A-93AF-5624CEF00B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9369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B434FEC-27D9-4AB7-8206-A1E31F5356E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44426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499" imgH="499" progId="TCLayout.ActiveDocument.1">
                  <p:embed/>
                </p:oleObj>
              </mc:Choice>
              <mc:Fallback>
                <p:oleObj name="think-cell Slide" r:id="rId4" imgW="499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26E300BB-7035-4FEE-B50D-786E045655C2}"/>
              </a:ext>
            </a:extLst>
          </p:cNvPr>
          <p:cNvSpPr txBox="1"/>
          <p:nvPr/>
        </p:nvSpPr>
        <p:spPr>
          <a:xfrm flipH="1">
            <a:off x="4413378" y="292517"/>
            <a:ext cx="2995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LASS DIAGRAM (QUICKFEED)</a:t>
            </a:r>
          </a:p>
        </p:txBody>
      </p:sp>
      <p:pic>
        <p:nvPicPr>
          <p:cNvPr id="3" name="Picture 2" descr="Diagram, schematic&#10;&#10;Description automatically generated">
            <a:extLst>
              <a:ext uri="{FF2B5EF4-FFF2-40B4-BE49-F238E27FC236}">
                <a16:creationId xmlns:a16="http://schemas.microsoft.com/office/drawing/2014/main" id="{09751CDE-2B3C-43B1-A29D-90DE40DA818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990" y="661848"/>
            <a:ext cx="10066020" cy="5803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15305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</TotalTime>
  <Words>5</Words>
  <Application>Microsoft Office PowerPoint</Application>
  <PresentationFormat>Widescreen</PresentationFormat>
  <Paragraphs>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Office Theme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thvik Kampati</dc:creator>
  <cp:lastModifiedBy>Sathvik Kampati</cp:lastModifiedBy>
  <cp:revision>2</cp:revision>
  <dcterms:created xsi:type="dcterms:W3CDTF">2022-04-16T00:18:49Z</dcterms:created>
  <dcterms:modified xsi:type="dcterms:W3CDTF">2022-04-17T13:07:39Z</dcterms:modified>
</cp:coreProperties>
</file>